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</p:sldMasterIdLst>
  <p:notesMasterIdLst>
    <p:notesMasterId r:id="rId15"/>
  </p:notesMasterIdLst>
  <p:sldIdLst>
    <p:sldId id="3284" r:id="rId5"/>
    <p:sldId id="2569" r:id="rId6"/>
    <p:sldId id="3275" r:id="rId7"/>
    <p:sldId id="2542" r:id="rId8"/>
    <p:sldId id="3277" r:id="rId9"/>
    <p:sldId id="3283" r:id="rId10"/>
    <p:sldId id="3285" r:id="rId11"/>
    <p:sldId id="3288" r:id="rId12"/>
    <p:sldId id="3289" r:id="rId13"/>
    <p:sldId id="2558" r:id="rId14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ettner, Arne" initials="GA" lastIdx="10" clrIdx="0">
    <p:extLst>
      <p:ext uri="{19B8F6BF-5375-455C-9EA6-DF929625EA0E}">
        <p15:presenceInfo xmlns:p15="http://schemas.microsoft.com/office/powerpoint/2012/main" userId="S::Arne.Gruettner@unisg.ch::2971ee8c-595f-49a9-a08f-823427620ef2" providerId="AD"/>
      </p:ext>
    </p:extLst>
  </p:cmAuthor>
  <p:cmAuthor id="2" name="Beyer, Samuel" initials="BS" lastIdx="1" clrIdx="1">
    <p:extLst>
      <p:ext uri="{19B8F6BF-5375-455C-9EA6-DF929625EA0E}">
        <p15:presenceInfo xmlns:p15="http://schemas.microsoft.com/office/powerpoint/2012/main" userId="S::samuel.beyer@student.unisg.ch::d8fe2b17-9273-41df-a496-02f403512a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41E"/>
    <a:srgbClr val="9DE7C6"/>
    <a:srgbClr val="249662"/>
    <a:srgbClr val="7F7F7F"/>
    <a:srgbClr val="0067B1"/>
    <a:srgbClr val="95C7E8"/>
    <a:srgbClr val="8FBFA9"/>
    <a:srgbClr val="76BEEA"/>
    <a:srgbClr val="EF4023"/>
    <a:srgbClr val="FFD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83"/>
    <p:restoredTop sz="95788"/>
  </p:normalViewPr>
  <p:slideViewPr>
    <p:cSldViewPr snapToGrid="0">
      <p:cViewPr varScale="1">
        <p:scale>
          <a:sx n="103" d="100"/>
          <a:sy n="103" d="100"/>
        </p:scale>
        <p:origin x="168" y="1152"/>
      </p:cViewPr>
      <p:guideLst>
        <p:guide orient="horz" pos="162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D8B8C-A07F-4F86-91C0-8300805952DE}" type="datetimeFigureOut">
              <a:rPr lang="de-DE" smtClean="0"/>
              <a:pPr/>
              <a:t>12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81C78C-DF60-43AA-9025-896AF7F51202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6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81C78C-DF60-43AA-9025-896AF7F5120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29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62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4605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392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004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578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36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A36A7-0C05-F244-A0FB-C9E81706BC9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36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38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79512" y="975658"/>
            <a:ext cx="8751600" cy="2859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CH"/>
              <a:t>Titelbild</a:t>
            </a:r>
            <a:endParaRPr lang="en-US"/>
          </a:p>
        </p:txBody>
      </p:sp>
      <p:pic>
        <p:nvPicPr>
          <p:cNvPr id="1026" name="Picture 2" descr="Bildergebnis fÃ¼r from insight to impac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39" y="4494378"/>
            <a:ext cx="1505173" cy="29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4037"/>
            <a:ext cx="1944216" cy="70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791580" y="1216968"/>
            <a:ext cx="7560840" cy="3260898"/>
          </a:xfrm>
          <a:prstGeom prst="rect">
            <a:avLst/>
          </a:prstGeom>
          <a:solidFill>
            <a:schemeClr val="tx2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pic>
        <p:nvPicPr>
          <p:cNvPr id="11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91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8532626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25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696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287524" y="934616"/>
            <a:ext cx="4178628" cy="37437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1"/>
          </p:nvPr>
        </p:nvSpPr>
        <p:spPr>
          <a:xfrm>
            <a:off x="4641844" y="934617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2"/>
          </p:nvPr>
        </p:nvSpPr>
        <p:spPr>
          <a:xfrm>
            <a:off x="4638663" y="2878163"/>
            <a:ext cx="4178628" cy="18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Rechteck 5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7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fula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350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1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0355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EA6931F5-36FE-42F2-A672-B83E09A85CCF}" type="slidenum">
              <a:rPr lang="de-DE" sz="700" smtClean="0">
                <a:solidFill>
                  <a:schemeClr val="bg1"/>
                </a:solidFill>
              </a:rPr>
              <a:pPr algn="r"/>
              <a:t>‹Nr.›</a:t>
            </a:fld>
            <a:endParaRPr lang="de-DE" sz="1400">
              <a:solidFill>
                <a:schemeClr val="bg1"/>
              </a:solidFill>
            </a:endParaRPr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87524" y="699542"/>
            <a:ext cx="8568952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Bildergebnis fÃ¼r unisg iwi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6904" y="218979"/>
            <a:ext cx="1296144" cy="469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84986A-2463-A242-B256-5936AABCA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3"/>
            <a:ext cx="8569325" cy="4033827"/>
          </a:xfrm>
          <a:prstGeom prst="rect">
            <a:avLst/>
          </a:prstGeo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5620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3072">
          <p15:clr>
            <a:srgbClr val="FBAE40"/>
          </p15:clr>
        </p15:guide>
        <p15:guide id="6" orient="horz" pos="5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4B1072E-7971-FC4E-BAC1-AD8436269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6832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4B1072E-7971-FC4E-BAC1-AD8436269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0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hf hdr="0" ftr="0" dt="0"/>
  <p:txStyles>
    <p:titleStyle>
      <a:lvl1pPr algn="l" defTabSz="685783" rtl="0" eaLnBrk="1" latinLnBrk="0" hangingPunct="1">
        <a:spcBef>
          <a:spcPct val="0"/>
        </a:spcBef>
        <a:buNone/>
        <a:defRPr sz="22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685783" rtl="0" eaLnBrk="1" latinLnBrk="0" hangingPunct="1">
        <a:spcBef>
          <a:spcPct val="20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06210" y="3244456"/>
            <a:ext cx="3171702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Philipp Schmelzer, </a:t>
            </a:r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Masterarbeit</a:t>
            </a:r>
          </a:p>
          <a:p>
            <a:endParaRPr lang="de-CH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CH" sz="1000" dirty="0">
                <a:latin typeface="Arial" panose="020B0604020202020204" pitchFamily="34" charset="0"/>
                <a:cs typeface="Arial" panose="020B0604020202020204" pitchFamily="34" charset="0"/>
              </a:rPr>
              <a:t>10. November 2020</a:t>
            </a:r>
          </a:p>
          <a:p>
            <a:r>
              <a:rPr lang="de-CH" sz="1000" dirty="0"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</a:t>
            </a:r>
            <a:endParaRPr lang="en-US" sz="100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1191525"/>
            <a:ext cx="4336663" cy="1846659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de-CH" sz="2400" b="1" dirty="0">
                <a:latin typeface="Arial" panose="020B0604020202020204" pitchFamily="34" charset="0"/>
                <a:cs typeface="Arial" panose="020B0604020202020204" pitchFamily="34" charset="0"/>
              </a:rPr>
              <a:t>Grundsätze für die Erstellung einer digitalen UI</a:t>
            </a:r>
          </a:p>
          <a:p>
            <a:endParaRPr lang="de-CH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de-CH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ssica </a:t>
            </a:r>
            <a:r>
              <a:rPr lang="de-CH" sz="24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vahn</a:t>
            </a:r>
            <a:r>
              <a:rPr lang="de-CH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24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endParaRPr lang="de-CH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de-CH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chäftsleitung Bereich G, HSG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06210" y="2975133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587" y="541589"/>
            <a:ext cx="2305937" cy="49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D65259-F36B-B846-B203-6B677EF5860D}"/>
              </a:ext>
            </a:extLst>
          </p:cNvPr>
          <p:cNvGrpSpPr/>
          <p:nvPr/>
        </p:nvGrpSpPr>
        <p:grpSpPr>
          <a:xfrm>
            <a:off x="3683489" y="0"/>
            <a:ext cx="5460511" cy="5143500"/>
            <a:chOff x="3683489" y="0"/>
            <a:chExt cx="5460511" cy="51435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3A851924-462B-474D-A182-F8EBC415A5D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/>
            <a:srcRect l="32253"/>
            <a:stretch/>
          </p:blipFill>
          <p:spPr>
            <a:xfrm>
              <a:off x="3683489" y="0"/>
              <a:ext cx="5460510" cy="5143500"/>
            </a:xfrm>
            <a:prstGeom prst="parallelogram">
              <a:avLst>
                <a:gd name="adj" fmla="val 48178"/>
              </a:avLst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D0D2A9F-C9AF-5E4F-B2B3-DA62205A9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7857"/>
            <a:stretch/>
          </p:blipFill>
          <p:spPr>
            <a:xfrm>
              <a:off x="6553200" y="0"/>
              <a:ext cx="2590800" cy="514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51929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996C0274-6751-BB40-A65C-308D23A1371C}"/>
              </a:ext>
            </a:extLst>
          </p:cNvPr>
          <p:cNvSpPr txBox="1"/>
          <p:nvPr/>
        </p:nvSpPr>
        <p:spPr>
          <a:xfrm>
            <a:off x="972000" y="2248584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b="1">
                <a:solidFill>
                  <a:schemeClr val="tx2"/>
                </a:solidFill>
              </a:rPr>
              <a:t>HERZLICHEN DANK</a:t>
            </a:r>
            <a:endParaRPr lang="en-US" sz="3600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66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E3EC20C-599D-9344-B7EF-7DAEF7CB2C81}"/>
              </a:ext>
            </a:extLst>
          </p:cNvPr>
          <p:cNvSpPr/>
          <p:nvPr/>
        </p:nvSpPr>
        <p:spPr>
          <a:xfrm>
            <a:off x="287338" y="3432972"/>
            <a:ext cx="2772494" cy="158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358003-7FDF-3145-ABEA-D261144DFFF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7338" y="842964"/>
            <a:ext cx="2628469" cy="259000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de-DE" sz="1600" b="1" dirty="0"/>
              <a:t>Der Interview-Prozes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 err="1"/>
              <a:t>Begrüssung</a:t>
            </a:r>
            <a:r>
              <a:rPr lang="de-DE" sz="1400" dirty="0"/>
              <a:t> und Vorstellungsrund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Dauer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Aufnahme des Interview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sz="1400" dirty="0"/>
              <a:t>Geplanter Ablauf für das Interview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100C3D-9798-2A4B-9D0B-EEACD495CB72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>
                <a:solidFill>
                  <a:schemeClr val="tx2"/>
                </a:solidFill>
              </a:rPr>
              <a:t>AGENDA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EB8191-B6C0-3E43-8681-DBE27A490063}"/>
              </a:ext>
            </a:extLst>
          </p:cNvPr>
          <p:cNvSpPr/>
          <p:nvPr/>
        </p:nvSpPr>
        <p:spPr>
          <a:xfrm>
            <a:off x="3419878" y="842963"/>
            <a:ext cx="543678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Das Interview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orstellung Ausgangslag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ckground des </a:t>
            </a:r>
            <a:r>
              <a:rPr lang="de-DE" sz="1400" dirty="0" err="1"/>
              <a:t>Gesprächpartners</a:t>
            </a:r>
            <a:endParaRPr lang="de-DE" sz="1400" dirty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ktuelle Bedarfskalkulation im Betrieb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erbesserungspotenziale aktuelle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Visualisierung der Bedarfsplanu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eitere Aspekte eines Bedarfsplanungstool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bschluss des Interview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14F763E2-8A2C-D346-BA8B-FCC2E7CC7250}"/>
              </a:ext>
            </a:extLst>
          </p:cNvPr>
          <p:cNvCxnSpPr>
            <a:cxnSpLocks/>
          </p:cNvCxnSpPr>
          <p:nvPr/>
        </p:nvCxnSpPr>
        <p:spPr>
          <a:xfrm>
            <a:off x="3059832" y="9155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94D9A37F-BC91-E94A-8510-252BEC914FF4}"/>
              </a:ext>
            </a:extLst>
          </p:cNvPr>
          <p:cNvSpPr/>
          <p:nvPr/>
        </p:nvSpPr>
        <p:spPr>
          <a:xfrm>
            <a:off x="1106633" y="4439263"/>
            <a:ext cx="131409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 dirty="0">
                <a:solidFill>
                  <a:prstClr val="black"/>
                </a:solidFill>
                <a:latin typeface="Calibri"/>
              </a:rPr>
              <a:t>15-20 mi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99EE45-02B7-034F-91E4-4A44B661A9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9" t="19585" r="17801" b="17800"/>
          <a:stretch/>
        </p:blipFill>
        <p:spPr>
          <a:xfrm>
            <a:off x="513927" y="4395623"/>
            <a:ext cx="411513" cy="40011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224690-A491-B944-A4CC-4EDBD452E3EA}"/>
              </a:ext>
            </a:extLst>
          </p:cNvPr>
          <p:cNvSpPr/>
          <p:nvPr/>
        </p:nvSpPr>
        <p:spPr>
          <a:xfrm>
            <a:off x="527305" y="3736062"/>
            <a:ext cx="398135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E9A07EA-A456-AA44-8A14-1D635E7251B4}"/>
              </a:ext>
            </a:extLst>
          </p:cNvPr>
          <p:cNvSpPr/>
          <p:nvPr/>
        </p:nvSpPr>
        <p:spPr>
          <a:xfrm>
            <a:off x="1077890" y="3659118"/>
            <a:ext cx="16219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02325"/>
            <a:r>
              <a:rPr lang="de-CH" sz="1500" b="1">
                <a:solidFill>
                  <a:prstClr val="black"/>
                </a:solidFill>
                <a:latin typeface="Calibri"/>
              </a:rPr>
              <a:t>Aufnahme des Interviews</a:t>
            </a:r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A8F5DEB4-9382-4B46-A7AE-1E635A078416}"/>
              </a:ext>
            </a:extLst>
          </p:cNvPr>
          <p:cNvSpPr/>
          <p:nvPr/>
        </p:nvSpPr>
        <p:spPr>
          <a:xfrm>
            <a:off x="2861812" y="2575598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274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40652CE2-82DB-5843-B52F-7FD39F071B6A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MEINE PERSON / AUSGANGSLAGE</a:t>
            </a:r>
            <a:endParaRPr lang="en-US" sz="1400" b="1" dirty="0">
              <a:solidFill>
                <a:schemeClr val="tx2"/>
              </a:solidFill>
            </a:endParaRPr>
          </a:p>
        </p:txBody>
      </p:sp>
      <p:pic>
        <p:nvPicPr>
          <p:cNvPr id="6" name="Grafik 5" descr="Ein Bild, das Person, Anzug, Mann, Schlips enthält.&#10;&#10;Automatisch generierte Beschreibung">
            <a:extLst>
              <a:ext uri="{FF2B5EF4-FFF2-40B4-BE49-F238E27FC236}">
                <a16:creationId xmlns:a16="http://schemas.microsoft.com/office/drawing/2014/main" id="{5D7CE821-3F3A-5944-8E9C-A894F359B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6" y="1567619"/>
            <a:ext cx="2571750" cy="257175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7FEB61F-04C0-B947-AA23-0CFD8AE70489}"/>
              </a:ext>
            </a:extLst>
          </p:cNvPr>
          <p:cNvSpPr/>
          <p:nvPr/>
        </p:nvSpPr>
        <p:spPr>
          <a:xfrm>
            <a:off x="3438524" y="906600"/>
            <a:ext cx="5418137" cy="38937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defTabSz="402325"/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Vorstellung Masterarbeitsthema</a:t>
            </a:r>
          </a:p>
          <a:p>
            <a:pPr defTabSz="402325"/>
            <a:endParaRPr lang="de-DE" sz="14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Programmierung von Vorhersagemodellen, die den Bedarf an Gerichten und Lebensmitteln berech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Überführung dieser Daten in verständliche „Sprache“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Entwicklung einer Visualisierung oder Benutzeroberfläche, um diese Ergebnisse in nutzbarer Weise darstellen zu könn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Ableitung von Design Prinzipien, die dieser Umwandlung zugrunde liegen und dem Endnutzer helfen die Daten zu verstehen.</a:t>
            </a:r>
          </a:p>
          <a:p>
            <a:pPr marL="285750" indent="-285750" defTabSz="402325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933BC03-6063-C940-B9C7-2010CBEE19DC}"/>
              </a:ext>
            </a:extLst>
          </p:cNvPr>
          <p:cNvCxnSpPr>
            <a:cxnSpLocks/>
          </p:cNvCxnSpPr>
          <p:nvPr/>
        </p:nvCxnSpPr>
        <p:spPr>
          <a:xfrm>
            <a:off x="3136031" y="801266"/>
            <a:ext cx="0" cy="410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FFC53C40-DA26-C143-9B04-6FCF389F3A4B}"/>
              </a:ext>
            </a:extLst>
          </p:cNvPr>
          <p:cNvSpPr/>
          <p:nvPr/>
        </p:nvSpPr>
        <p:spPr>
          <a:xfrm>
            <a:off x="2938012" y="2699606"/>
            <a:ext cx="396039" cy="307777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9AA6DEB-A68F-1F4C-AB3A-B53913AA6950}"/>
              </a:ext>
            </a:extLst>
          </p:cNvPr>
          <p:cNvSpPr/>
          <p:nvPr/>
        </p:nvSpPr>
        <p:spPr>
          <a:xfrm>
            <a:off x="3680617" y="4016829"/>
            <a:ext cx="4933950" cy="678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 defTabSz="402325">
              <a:lnSpc>
                <a:spcPct val="150000"/>
              </a:lnSpc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Ziel für dieses Interview: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Anforderungen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und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Bedürfnisse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der </a:t>
            </a:r>
            <a:r>
              <a:rPr lang="de-DE" sz="1400" b="1" dirty="0">
                <a:solidFill>
                  <a:schemeClr val="tx1"/>
                </a:solidFill>
                <a:latin typeface="Calibri"/>
                <a:cs typeface="Calibri"/>
              </a:rPr>
              <a:t>Endnutzer</a:t>
            </a: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 in der täglichen Verwendung</a:t>
            </a:r>
          </a:p>
        </p:txBody>
      </p:sp>
    </p:spTree>
    <p:extLst>
      <p:ext uri="{BB962C8B-B14F-4D97-AF65-F5344CB8AC3E}">
        <p14:creationId xmlns:p14="http://schemas.microsoft.com/office/powerpoint/2010/main" val="281933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31376"/>
              </p:ext>
            </p:ext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BACKGROUND DES GESPRÄCHPARTNER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lange arbeiten Sie schon in der Gastronomie / in Ihrem Betrieb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4 ein halb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jahre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, Krankenschwester, vorher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Unisport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, dann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Unibar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, 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sind ihre Aufgaben (neben dem eigentlichen Kochen)? 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eitung von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Meetingpoint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 Eventlocation,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Adhoc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 (Studentenbar) und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TheCo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 (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Tagescafe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)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tx1"/>
                </a:solidFill>
                <a:latin typeface="Calibri"/>
              </a:rPr>
              <a:t>Administative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 Leitung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Geschäfsleitung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ehört der Einkauf / Bedarfsplanung zu Ihrem Tätigkeitsbereich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Ja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Verständnis über die Historie, die Erfahrung und die Position der Person in der Organisation erlangen </a:t>
            </a:r>
          </a:p>
        </p:txBody>
      </p:sp>
    </p:spTree>
    <p:extLst>
      <p:ext uri="{BB962C8B-B14F-4D97-AF65-F5344CB8AC3E}">
        <p14:creationId xmlns:p14="http://schemas.microsoft.com/office/powerpoint/2010/main" val="4268482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KTUELLE BEDARFSKALKULATION IM BETRIEB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ie funktioniert die aktuelle Bedarfsplanung der Gerichte / Lebensmittel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Planung basiert auf Peaks (Lernphase, Break, Prüfungsabgabe)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rfahrungswissen -&gt; Prüfungsabgabe = mehr Personal, mehr Getränke, 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Eventlokal: historische Daten, was ist im Lager? Darauf basierend Spezialpreise oder Angebote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Trink des Abends um Bedarf zu steuer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blaufdatum berücksichtig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Lieferzeit berücksichtigen, Marketing darauf ausrichten</a:t>
            </a: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aktuell eine Übersicht auf der ersichtlich ist, was und in welcher Menge eingekauft werden muss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 err="1">
                <a:solidFill>
                  <a:schemeClr val="tx1"/>
                </a:solidFill>
                <a:latin typeface="Calibri"/>
              </a:rPr>
              <a:t>FiFo</a:t>
            </a:r>
            <a:r>
              <a:rPr lang="de-DE" sz="1400" dirty="0">
                <a:solidFill>
                  <a:schemeClr val="tx1"/>
                </a:solidFill>
                <a:latin typeface="Calibri"/>
              </a:rPr>
              <a:t> Lagersystem, analoges Bestellsystem, </a:t>
            </a:r>
            <a:r>
              <a:rPr lang="de-DE" sz="1400" dirty="0" err="1">
                <a:solidFill>
                  <a:schemeClr val="tx1"/>
                </a:solidFill>
                <a:latin typeface="Calibri"/>
              </a:rPr>
              <a:t>Bestellsliste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lvl="1"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elche weiteren Informationen sind wichtig bei der Bedarfsplanung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lühwein hat hohe Marge -&gt; früher mit dem Vertrieb angefang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ndere Sachen ausprobier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 err="1">
                <a:solidFill>
                  <a:schemeClr val="tx1"/>
                </a:solidFill>
                <a:latin typeface="Calibri"/>
              </a:rPr>
              <a:t>Saisonalität</a:t>
            </a: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742950" lvl="1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Auswahl für den Kunden reduzieren, um Überforderung zu reduzieren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aktuelle Bedarfsplanung und den Einkauf der verschiedenen Gerichte erlangen  </a:t>
            </a:r>
          </a:p>
        </p:txBody>
      </p:sp>
    </p:spTree>
    <p:extLst>
      <p:ext uri="{BB962C8B-B14F-4D97-AF65-F5344CB8AC3E}">
        <p14:creationId xmlns:p14="http://schemas.microsoft.com/office/powerpoint/2010/main" val="2516106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ERBESSERUNGSPOTENZIALE AKTUELLE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ist aktuell verbesserungswürdig an der Bedarfsplanung?</a:t>
            </a:r>
          </a:p>
          <a:p>
            <a:pPr marL="742950" lvl="1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Was könnte in Ihrer Bedarfsplanung einfacher gestaltet sein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</a:rPr>
              <a:t>Gibt es Wünsche, Anregungen, Verbesserungspotenzial?</a:t>
            </a:r>
          </a:p>
          <a:p>
            <a:pPr marL="285750" indent="-285750" defTabSz="402325">
              <a:buFont typeface="Arial"/>
              <a:buChar char="•"/>
            </a:pPr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Den optimalen Prozess einer bedürfnisgerechten Bedarfsplanung eruieren</a:t>
            </a:r>
          </a:p>
        </p:txBody>
      </p:sp>
    </p:spTree>
    <p:extLst>
      <p:ext uri="{BB962C8B-B14F-4D97-AF65-F5344CB8AC3E}">
        <p14:creationId xmlns:p14="http://schemas.microsoft.com/office/powerpoint/2010/main" val="1363268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VISUALISIERUNG DER BEDARFSPLA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894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Ist es für Sie entscheidender, eine Erklärung über die Funktionsweise des Algorithmus zu erhalten, oder eine die die aktuell ausgesprochene Empfehlung erklärt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lche Informationen  / Funktionen müssen auf einer Visualisierung zur Bedarfsplanung integriert sei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chönes / Schlechtes Wetter -&gt;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ionalitäten</a:t>
            </a: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Lagersystem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Kundschaft beachten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Verschiedene Szenarios anbieten, 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tter,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Zeitplan,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Spezielle Veranstaltungen an der HSG, Bedarf einzelner Produkte  basierend auf spezifischen Events, Wurst -&gt; Bier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Personalkalkulation, Umsatzübersicht, 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teraktion mit dem Tool sehr wichtig, Benutzer hat die Kontrolle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Rabattaktionen</a:t>
            </a: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muss die Visualisierung gestaltet sein, damit sie am meisten Wert stiftet? (Beispiele zeigen)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enig und einfach verständlicher Text, mit Bilder arbeiten</a:t>
            </a: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Gibt es bestimmte Vorlieben über die Art der Visualisierung oder andere Bedürfnisse die Sie noch gerne ergänzen möcht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5232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Verständnis für die Nutzung eines nutzerfreundlichen und einfach verständlichen Visualisierung erlangen</a:t>
            </a:r>
          </a:p>
        </p:txBody>
      </p:sp>
    </p:spTree>
    <p:extLst>
      <p:ext uri="{BB962C8B-B14F-4D97-AF65-F5344CB8AC3E}">
        <p14:creationId xmlns:p14="http://schemas.microsoft.com/office/powerpoint/2010/main" val="866898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0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WEITERE ASPEKTE EINES BEDARFSPLANUNGSTOOLS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7444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ie wichtig ist Ihnen, dass Sie die Vorschläge des Tools nachvollziehen könn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Sehr, muss HSG spezifische Faktoren mit einbeziehen, Zeit, Break, Ende </a:t>
            </a:r>
            <a:r>
              <a:rPr lang="de-DE" sz="1200" dirty="0" err="1">
                <a:solidFill>
                  <a:schemeClr val="tx1"/>
                </a:solidFill>
                <a:latin typeface="Calibri"/>
                <a:cs typeface="Calibri"/>
              </a:rPr>
              <a:t>Unisport</a:t>
            </a: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 und Vorlesungen, Vereine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Elemente müsste ein solches Tool aufweisen, damit Sie den Empfehlung dessen vertrauen können?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</a:endParaRP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Wäre eine interaktive „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What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If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…“ Funktion hilfreich, die unterschiedliche Szenarios simulieren kann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ja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wiefern müssten verschiedene Zeithorizonte betrachtet werden, da sich Lebensmittel unterschiedlich lange halten oder aufgrund von </a:t>
            </a:r>
            <a:r>
              <a:rPr lang="de-DE" sz="1200" dirty="0" err="1">
                <a:solidFill>
                  <a:schemeClr val="tx1"/>
                </a:solidFill>
                <a:latin typeface="Calibri"/>
              </a:rPr>
              <a:t>Saisonalitäten</a:t>
            </a:r>
            <a:r>
              <a:rPr lang="de-DE" sz="1200" dirty="0">
                <a:solidFill>
                  <a:schemeClr val="tx1"/>
                </a:solidFill>
                <a:latin typeface="Calibri"/>
              </a:rPr>
              <a:t>, Nachfrageschwankungen etc.?</a:t>
            </a:r>
          </a:p>
          <a:p>
            <a:pPr marL="742950" lvl="1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Ja</a:t>
            </a:r>
          </a:p>
          <a:p>
            <a:pPr marL="285750" indent="-285750" defTabSz="402325">
              <a:buFont typeface="Arial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Muss man einzelne Gerichte oder andere Faktoren ausklammern können bspw. (Ausklammern von bestimmten Lebensmitteln aufgrund Allergien oder Geschmacksvorlieben, bei saisonalen Gerichten etc.)</a:t>
            </a:r>
          </a:p>
          <a:p>
            <a:pPr marL="285750" indent="-285750" defTabSz="402325">
              <a:buFont typeface="Arial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äre es hilfreich, wenn Empfehlungen im Sinne eines „</a:t>
            </a:r>
            <a:r>
              <a:rPr lang="de-DE" sz="1200" dirty="0" err="1">
                <a:solidFill>
                  <a:schemeClr val="tx1"/>
                </a:solidFill>
                <a:latin typeface="Calibri"/>
                <a:cs typeface="Calibri"/>
              </a:rPr>
              <a:t>Recommender</a:t>
            </a: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 Systems“, welche Vorschläge zu anderen Gerichten gibt, integriert sind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Welche weiteren Funktionen müsste ein Tool zur Bedarfsplanung von Gerichten aufweisen?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Calibri"/>
                <a:cs typeface="Calibri"/>
              </a:rPr>
              <a:t>Personalberechnung, Umsatzübersicht, Kombinationsangebote vorschlagen</a:t>
            </a:r>
          </a:p>
          <a:p>
            <a:pPr marL="742950" lvl="1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lvl="1" defTabSz="402325"/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/>
              <a:t>Ziel: Probleme und Limitationen der Datennutzung verstehen.</a:t>
            </a:r>
          </a:p>
        </p:txBody>
      </p:sp>
    </p:spTree>
    <p:extLst>
      <p:ext uri="{BB962C8B-B14F-4D97-AF65-F5344CB8AC3E}">
        <p14:creationId xmlns:p14="http://schemas.microsoft.com/office/powerpoint/2010/main" val="2346587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B84490F-30B3-DB4B-BB17-3F184BF633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6629" y="482895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0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B84490F-30B3-DB4B-BB17-3F184BF63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86629" y="482895"/>
                        <a:ext cx="691" cy="6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109419F6-42AA-6940-BE43-C8748BF59A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85938" y="482204"/>
            <a:ext cx="69099" cy="69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02325"/>
            <a:endParaRPr lang="fr-FR" sz="788" b="1" err="1">
              <a:solidFill>
                <a:prstClr val="white"/>
              </a:solidFill>
              <a:latin typeface="Helvetica" pitchFamily="2" charset="0"/>
              <a:ea typeface="Verdana" panose="020B0604030504040204" pitchFamily="34" charset="0"/>
              <a:cs typeface="Helvetica"/>
              <a:sym typeface="Helvetica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0963A74-C3F3-C04B-AAAE-7F7D50DFD098}"/>
              </a:ext>
            </a:extLst>
          </p:cNvPr>
          <p:cNvSpPr txBox="1"/>
          <p:nvPr/>
        </p:nvSpPr>
        <p:spPr>
          <a:xfrm>
            <a:off x="287338" y="247749"/>
            <a:ext cx="7200000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CH" sz="1400" b="1" dirty="0">
                <a:solidFill>
                  <a:schemeClr val="tx2"/>
                </a:solidFill>
              </a:rPr>
              <a:t>ABSCHLIESSENDE FRAGEN</a:t>
            </a: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60F01B0-1AEC-1A49-BD13-4A6F58D23918}"/>
              </a:ext>
            </a:extLst>
          </p:cNvPr>
          <p:cNvSpPr/>
          <p:nvPr/>
        </p:nvSpPr>
        <p:spPr>
          <a:xfrm>
            <a:off x="279368" y="1151335"/>
            <a:ext cx="8595203" cy="3580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/>
          <a:p>
            <a:pPr marL="285750" indent="-285750" defTabSz="402325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Calibri"/>
                <a:cs typeface="Calibri"/>
              </a:rPr>
              <a:t>Gibt es bei Ihnen im Unternehmen irgendwelche Tools oder Applikationen die mit Maschine Learning oder KI arbeiten?</a:t>
            </a: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 defTabSz="402325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540F07-3EFA-284B-B498-65F468FE9ED2}"/>
              </a:ext>
            </a:extLst>
          </p:cNvPr>
          <p:cNvSpPr/>
          <p:nvPr/>
        </p:nvSpPr>
        <p:spPr>
          <a:xfrm>
            <a:off x="251520" y="699542"/>
            <a:ext cx="8712968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Ziel: Sonstige Fragen zum Thema klären.</a:t>
            </a:r>
          </a:p>
        </p:txBody>
      </p:sp>
    </p:spTree>
    <p:extLst>
      <p:ext uri="{BB962C8B-B14F-4D97-AF65-F5344CB8AC3E}">
        <p14:creationId xmlns:p14="http://schemas.microsoft.com/office/powerpoint/2010/main" val="3156788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aMppnZpndDFATQdQ4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I3 Layout">
  <a:themeElements>
    <a:clrScheme name="Benutzerdefiniert 1">
      <a:dk1>
        <a:sysClr val="windowText" lastClr="000000"/>
      </a:dk1>
      <a:lt1>
        <a:sysClr val="window" lastClr="FFFFFF"/>
      </a:lt1>
      <a:dk2>
        <a:srgbClr val="00802F"/>
      </a:dk2>
      <a:lt2>
        <a:srgbClr val="CCCCCC"/>
      </a:lt2>
      <a:accent1>
        <a:srgbClr val="00802F"/>
      </a:accent1>
      <a:accent2>
        <a:srgbClr val="ACCC3D"/>
      </a:accent2>
      <a:accent3>
        <a:srgbClr val="0067B1"/>
      </a:accent3>
      <a:accent4>
        <a:srgbClr val="95C7E8"/>
      </a:accent4>
      <a:accent5>
        <a:srgbClr val="666666"/>
      </a:accent5>
      <a:accent6>
        <a:srgbClr val="999999"/>
      </a:accent6>
      <a:hlink>
        <a:srgbClr val="95C7E8"/>
      </a:hlink>
      <a:folHlink>
        <a:srgbClr val="000000"/>
      </a:folHlink>
    </a:clrScheme>
    <a:fontScheme name="UNISG CD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 Template" id="{EB35C314-6BC3-9940-958B-8629B7D17C73}" vid="{8F6522FF-69EC-7847-9AD7-D5785246780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A1F3827DA71F448DAC5F4A257F5665" ma:contentTypeVersion="2" ma:contentTypeDescription="Ein neues Dokument erstellen." ma:contentTypeScope="" ma:versionID="1e717dbfa7b7207dfac07c69acddd338">
  <xsd:schema xmlns:xsd="http://www.w3.org/2001/XMLSchema" xmlns:xs="http://www.w3.org/2001/XMLSchema" xmlns:p="http://schemas.microsoft.com/office/2006/metadata/properties" xmlns:ns2="3f370a08-1e6d-4642-a4b6-b6d852aed5f0" targetNamespace="http://schemas.microsoft.com/office/2006/metadata/properties" ma:root="true" ma:fieldsID="1ec3ffebd306b5464ea0dbf21c509c56" ns2:_="">
    <xsd:import namespace="3f370a08-1e6d-4642-a4b6-b6d852aed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70a08-1e6d-4642-a4b6-b6d852aed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366B1C-28CE-4544-97EB-72C55EF781EC}">
  <ds:schemaRefs>
    <ds:schemaRef ds:uri="3f370a08-1e6d-4642-a4b6-b6d852aed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DBBB883-F70B-43A4-B01A-B7F597F7B7EF}">
  <ds:schemaRefs>
    <ds:schemaRef ds:uri="3f370a08-1e6d-4642-a4b6-b6d852aed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27BC059-E0DB-465B-8EBC-D93BDF5726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WI3 Layout</Template>
  <TotalTime>0</TotalTime>
  <Words>761</Words>
  <Application>Microsoft Macintosh PowerPoint</Application>
  <PresentationFormat>Bildschirmpräsentation (16:9)</PresentationFormat>
  <Paragraphs>126</Paragraphs>
  <Slides>1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</vt:lpstr>
      <vt:lpstr>IWI3 Layout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xer, NicoleSarina</dc:creator>
  <cp:lastModifiedBy>Philipp Schmelzer</cp:lastModifiedBy>
  <cp:revision>29</cp:revision>
  <cp:lastPrinted>2020-03-29T12:41:23Z</cp:lastPrinted>
  <dcterms:created xsi:type="dcterms:W3CDTF">2019-10-08T08:06:46Z</dcterms:created>
  <dcterms:modified xsi:type="dcterms:W3CDTF">2021-01-12T10:1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1F3827DA71F448DAC5F4A257F5665</vt:lpwstr>
  </property>
</Properties>
</file>